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9"/>
  </p:notesMasterIdLst>
  <p:sldIdLst>
    <p:sldId id="256" r:id="rId2"/>
    <p:sldId id="257" r:id="rId3"/>
    <p:sldId id="272" r:id="rId4"/>
    <p:sldId id="273" r:id="rId5"/>
    <p:sldId id="258" r:id="rId6"/>
    <p:sldId id="260" r:id="rId7"/>
    <p:sldId id="268" r:id="rId8"/>
    <p:sldId id="269" r:id="rId9"/>
    <p:sldId id="270" r:id="rId10"/>
    <p:sldId id="271" r:id="rId11"/>
    <p:sldId id="261" r:id="rId12"/>
    <p:sldId id="262" r:id="rId13"/>
    <p:sldId id="263" r:id="rId14"/>
    <p:sldId id="264" r:id="rId15"/>
    <p:sldId id="265" r:id="rId16"/>
    <p:sldId id="266" r:id="rId17"/>
    <p:sldId id="274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" id="{261B9F5B-2935-48C9-86E8-D2BC58EECEDB}">
          <p14:sldIdLst>
            <p14:sldId id="256"/>
            <p14:sldId id="257"/>
          </p14:sldIdLst>
        </p14:section>
        <p14:section name="Hardware" id="{D921B79A-2E07-479F-8ECC-9D15ABA96BF5}">
          <p14:sldIdLst>
            <p14:sldId id="272"/>
            <p14:sldId id="273"/>
            <p14:sldId id="258"/>
            <p14:sldId id="260"/>
            <p14:sldId id="268"/>
            <p14:sldId id="269"/>
            <p14:sldId id="270"/>
            <p14:sldId id="271"/>
            <p14:sldId id="261"/>
          </p14:sldIdLst>
        </p14:section>
        <p14:section name="Software" id="{16012F20-F637-4BF8-8E46-92CF7BEE2D2B}">
          <p14:sldIdLst>
            <p14:sldId id="262"/>
            <p14:sldId id="263"/>
            <p14:sldId id="264"/>
            <p14:sldId id="265"/>
          </p14:sldIdLst>
        </p14:section>
        <p14:section name="Vorschau" id="{4A351114-26FF-488C-ADE9-350538E10DAE}">
          <p14:sldIdLst>
            <p14:sldId id="266"/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91A657-85CC-4977-A656-B3C472FA43A4}" v="71" dt="2023-06-21T08:29:44.8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Kreil" userId="d58e28bc-c49f-452c-9963-6e98572e3149" providerId="ADAL" clId="{B491A657-85CC-4977-A656-B3C472FA43A4}"/>
    <pc:docChg chg="undo custSel addSld delSld modSld sldOrd addSection modSection">
      <pc:chgData name="Leonard Kreil" userId="d58e28bc-c49f-452c-9963-6e98572e3149" providerId="ADAL" clId="{B491A657-85CC-4977-A656-B3C472FA43A4}" dt="2023-06-21T08:32:19.615" v="2372" actId="20577"/>
      <pc:docMkLst>
        <pc:docMk/>
      </pc:docMkLst>
      <pc:sldChg chg="addSp modSp mod">
        <pc:chgData name="Leonard Kreil" userId="d58e28bc-c49f-452c-9963-6e98572e3149" providerId="ADAL" clId="{B491A657-85CC-4977-A656-B3C472FA43A4}" dt="2023-06-21T07:27:38.974" v="157" actId="1076"/>
        <pc:sldMkLst>
          <pc:docMk/>
          <pc:sldMk cId="634268769" sldId="256"/>
        </pc:sldMkLst>
        <pc:spChg chg="mod">
          <ac:chgData name="Leonard Kreil" userId="d58e28bc-c49f-452c-9963-6e98572e3149" providerId="ADAL" clId="{B491A657-85CC-4977-A656-B3C472FA43A4}" dt="2023-06-21T07:22:58.245" v="0" actId="20577"/>
          <ac:spMkLst>
            <pc:docMk/>
            <pc:sldMk cId="634268769" sldId="256"/>
            <ac:spMk id="6" creationId="{ED567448-EDAD-4D57-A325-E59CAF191E87}"/>
          </ac:spMkLst>
        </pc:spChg>
        <pc:picChg chg="add mod">
          <ac:chgData name="Leonard Kreil" userId="d58e28bc-c49f-452c-9963-6e98572e3149" providerId="ADAL" clId="{B491A657-85CC-4977-A656-B3C472FA43A4}" dt="2023-06-21T07:27:38.974" v="157" actId="1076"/>
          <ac:picMkLst>
            <pc:docMk/>
            <pc:sldMk cId="634268769" sldId="256"/>
            <ac:picMk id="5" creationId="{3B3FA4E9-9A76-7403-7126-4693D6DE4D8E}"/>
          </ac:picMkLst>
        </pc:picChg>
      </pc:sldChg>
      <pc:sldChg chg="modSp mod">
        <pc:chgData name="Leonard Kreil" userId="d58e28bc-c49f-452c-9963-6e98572e3149" providerId="ADAL" clId="{B491A657-85CC-4977-A656-B3C472FA43A4}" dt="2023-06-21T07:25:11.096" v="153" actId="20577"/>
        <pc:sldMkLst>
          <pc:docMk/>
          <pc:sldMk cId="1728572392" sldId="257"/>
        </pc:sldMkLst>
        <pc:spChg chg="mod">
          <ac:chgData name="Leonard Kreil" userId="d58e28bc-c49f-452c-9963-6e98572e3149" providerId="ADAL" clId="{B491A657-85CC-4977-A656-B3C472FA43A4}" dt="2023-06-21T07:25:11.096" v="153" actId="20577"/>
          <ac:spMkLst>
            <pc:docMk/>
            <pc:sldMk cId="1728572392" sldId="257"/>
            <ac:spMk id="3" creationId="{DACC9316-58E7-4B93-9DE0-7DED50F94C8A}"/>
          </ac:spMkLst>
        </pc:spChg>
      </pc:sldChg>
      <pc:sldChg chg="addSp delSp modSp mod">
        <pc:chgData name="Leonard Kreil" userId="d58e28bc-c49f-452c-9963-6e98572e3149" providerId="ADAL" clId="{B491A657-85CC-4977-A656-B3C472FA43A4}" dt="2023-06-21T07:30:09.931" v="205" actId="11529"/>
        <pc:sldMkLst>
          <pc:docMk/>
          <pc:sldMk cId="1519453950" sldId="258"/>
        </pc:sldMkLst>
        <pc:spChg chg="mod">
          <ac:chgData name="Leonard Kreil" userId="d58e28bc-c49f-452c-9963-6e98572e3149" providerId="ADAL" clId="{B491A657-85CC-4977-A656-B3C472FA43A4}" dt="2023-06-21T07:28:37.503" v="197" actId="20577"/>
          <ac:spMkLst>
            <pc:docMk/>
            <pc:sldMk cId="1519453950" sldId="258"/>
            <ac:spMk id="2" creationId="{B2EEC2FC-73D6-47A6-8C80-F8D60D62DB11}"/>
          </ac:spMkLst>
        </pc:spChg>
        <pc:spChg chg="add del">
          <ac:chgData name="Leonard Kreil" userId="d58e28bc-c49f-452c-9963-6e98572e3149" providerId="ADAL" clId="{B491A657-85CC-4977-A656-B3C472FA43A4}" dt="2023-06-21T07:28:53.768" v="199" actId="11529"/>
          <ac:spMkLst>
            <pc:docMk/>
            <pc:sldMk cId="1519453950" sldId="258"/>
            <ac:spMk id="3" creationId="{2FEA7104-F91A-DD7A-DC5A-1BDB3CCA5D94}"/>
          </ac:spMkLst>
        </pc:spChg>
        <pc:cxnChg chg="add del">
          <ac:chgData name="Leonard Kreil" userId="d58e28bc-c49f-452c-9963-6e98572e3149" providerId="ADAL" clId="{B491A657-85CC-4977-A656-B3C472FA43A4}" dt="2023-06-21T07:29:05.661" v="201" actId="11529"/>
          <ac:cxnSpMkLst>
            <pc:docMk/>
            <pc:sldMk cId="1519453950" sldId="258"/>
            <ac:cxnSpMk id="6" creationId="{652D0076-49E1-A9CB-9B73-79FDD51532B6}"/>
          </ac:cxnSpMkLst>
        </pc:cxnChg>
        <pc:cxnChg chg="add">
          <ac:chgData name="Leonard Kreil" userId="d58e28bc-c49f-452c-9963-6e98572e3149" providerId="ADAL" clId="{B491A657-85CC-4977-A656-B3C472FA43A4}" dt="2023-06-21T07:29:32.126" v="202" actId="11529"/>
          <ac:cxnSpMkLst>
            <pc:docMk/>
            <pc:sldMk cId="1519453950" sldId="258"/>
            <ac:cxnSpMk id="8" creationId="{DDC9A598-55C7-FDBB-7A21-EDA0EB5FE599}"/>
          </ac:cxnSpMkLst>
        </pc:cxnChg>
        <pc:cxnChg chg="add">
          <ac:chgData name="Leonard Kreil" userId="d58e28bc-c49f-452c-9963-6e98572e3149" providerId="ADAL" clId="{B491A657-85CC-4977-A656-B3C472FA43A4}" dt="2023-06-21T07:29:41.209" v="203" actId="11529"/>
          <ac:cxnSpMkLst>
            <pc:docMk/>
            <pc:sldMk cId="1519453950" sldId="258"/>
            <ac:cxnSpMk id="17" creationId="{D22FF5A0-B611-2049-8191-4BFE2F057D2A}"/>
          </ac:cxnSpMkLst>
        </pc:cxnChg>
        <pc:cxnChg chg="add">
          <ac:chgData name="Leonard Kreil" userId="d58e28bc-c49f-452c-9963-6e98572e3149" providerId="ADAL" clId="{B491A657-85CC-4977-A656-B3C472FA43A4}" dt="2023-06-21T07:29:59.047" v="204" actId="11529"/>
          <ac:cxnSpMkLst>
            <pc:docMk/>
            <pc:sldMk cId="1519453950" sldId="258"/>
            <ac:cxnSpMk id="19" creationId="{CB0AA4C7-9A52-E375-310D-996C496AA2B6}"/>
          </ac:cxnSpMkLst>
        </pc:cxnChg>
        <pc:cxnChg chg="add">
          <ac:chgData name="Leonard Kreil" userId="d58e28bc-c49f-452c-9963-6e98572e3149" providerId="ADAL" clId="{B491A657-85CC-4977-A656-B3C472FA43A4}" dt="2023-06-21T07:30:09.931" v="205" actId="11529"/>
          <ac:cxnSpMkLst>
            <pc:docMk/>
            <pc:sldMk cId="1519453950" sldId="258"/>
            <ac:cxnSpMk id="21" creationId="{EB9ED2B4-3EF3-78C3-5B57-7ACF55EBC8DC}"/>
          </ac:cxnSpMkLst>
        </pc:cxnChg>
      </pc:sldChg>
      <pc:sldChg chg="delSp modSp del mod">
        <pc:chgData name="Leonard Kreil" userId="d58e28bc-c49f-452c-9963-6e98572e3149" providerId="ADAL" clId="{B491A657-85CC-4977-A656-B3C472FA43A4}" dt="2023-06-21T07:52:49.711" v="558" actId="47"/>
        <pc:sldMkLst>
          <pc:docMk/>
          <pc:sldMk cId="442270149" sldId="259"/>
        </pc:sldMkLst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2" creationId="{085B753C-1B48-42E8-AEDA-DA77BF046B8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3" creationId="{9C255EC4-BF14-4ED5-A0DE-7AF536016B95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5" creationId="{5C9877A7-3CA0-4BE2-9C9D-0A4B53C808A8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2" creationId="{889FBE11-824D-44EA-AD20-D8FBA557839C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3" creationId="{BAC9AC55-9324-4E68-A3B6-C83775090F2E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4" creationId="{0A6647C1-4C1C-4F4C-A701-0C7CCA9DD482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5" creationId="{E1CBB80D-41E6-42A2-9E17-481C7C3D1E3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6" creationId="{01B54272-B0DA-4745-847D-D76F7519D54B}"/>
          </ac:spMkLst>
        </pc:sp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17" creationId="{9401CB08-F23F-4549-BEE0-58B60479DB1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0" creationId="{1694EE91-4C31-4170-8C4F-B205CBF8549C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8" creationId="{F75F0663-3C78-4936-9677-9B136FA6DD7B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1" creationId="{95015222-E186-4E62-AEA1-6A7294BE134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4" creationId="{7DF427D0-769F-4951-9405-459B52A4870A}"/>
          </ac:cxnSpMkLst>
        </pc:cxnChg>
      </pc:sldChg>
      <pc:sldChg chg="addSp delSp modSp add mod">
        <pc:chgData name="Leonard Kreil" userId="d58e28bc-c49f-452c-9963-6e98572e3149" providerId="ADAL" clId="{B491A657-85CC-4977-A656-B3C472FA43A4}" dt="2023-06-21T07:38:54.663" v="298" actId="1076"/>
        <pc:sldMkLst>
          <pc:docMk/>
          <pc:sldMk cId="3035198051" sldId="260"/>
        </pc:sldMkLst>
        <pc:spChg chg="mod">
          <ac:chgData name="Leonard Kreil" userId="d58e28bc-c49f-452c-9963-6e98572e3149" providerId="ADAL" clId="{B491A657-85CC-4977-A656-B3C472FA43A4}" dt="2023-06-21T07:30:25.811" v="220" actId="20577"/>
          <ac:spMkLst>
            <pc:docMk/>
            <pc:sldMk cId="3035198051" sldId="260"/>
            <ac:spMk id="2" creationId="{B2EEC2FC-73D6-47A6-8C80-F8D60D62DB11}"/>
          </ac:spMkLst>
        </pc:spChg>
        <pc:spChg chg="add mod">
          <ac:chgData name="Leonard Kreil" userId="d58e28bc-c49f-452c-9963-6e98572e3149" providerId="ADAL" clId="{B491A657-85CC-4977-A656-B3C472FA43A4}" dt="2023-06-21T07:36:10.169" v="232" actId="1076"/>
          <ac:spMkLst>
            <pc:docMk/>
            <pc:sldMk cId="3035198051" sldId="260"/>
            <ac:spMk id="3" creationId="{2309DE0E-452A-8A32-0F94-A485D1FA6BF5}"/>
          </ac:spMkLst>
        </pc:spChg>
        <pc:spChg chg="add mod">
          <ac:chgData name="Leonard Kreil" userId="d58e28bc-c49f-452c-9963-6e98572e3149" providerId="ADAL" clId="{B491A657-85CC-4977-A656-B3C472FA43A4}" dt="2023-06-21T07:36:23.468" v="234" actId="1076"/>
          <ac:spMkLst>
            <pc:docMk/>
            <pc:sldMk cId="3035198051" sldId="260"/>
            <ac:spMk id="5" creationId="{95C95B95-5B43-E35E-78FE-2F2DBB5E9651}"/>
          </ac:spMkLst>
        </pc:spChg>
        <pc:spChg chg="add mod">
          <ac:chgData name="Leonard Kreil" userId="d58e28bc-c49f-452c-9963-6e98572e3149" providerId="ADAL" clId="{B491A657-85CC-4977-A656-B3C472FA43A4}" dt="2023-06-21T07:36:40.335" v="236" actId="1076"/>
          <ac:spMkLst>
            <pc:docMk/>
            <pc:sldMk cId="3035198051" sldId="260"/>
            <ac:spMk id="6" creationId="{0AFAD5A8-FEA2-1634-6451-D080FF3CD0B9}"/>
          </ac:spMkLst>
        </pc:spChg>
        <pc:spChg chg="add mod">
          <ac:chgData name="Leonard Kreil" userId="d58e28bc-c49f-452c-9963-6e98572e3149" providerId="ADAL" clId="{B491A657-85CC-4977-A656-B3C472FA43A4}" dt="2023-06-21T07:37:44.693" v="264" actId="1076"/>
          <ac:spMkLst>
            <pc:docMk/>
            <pc:sldMk cId="3035198051" sldId="260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38:23.546" v="287" actId="1076"/>
          <ac:spMkLst>
            <pc:docMk/>
            <pc:sldMk cId="3035198051" sldId="260"/>
            <ac:spMk id="9" creationId="{42C90EF7-296E-A9FE-C33D-83FDE7581EB4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1" creationId="{7ADEF16F-2AB2-4DD6-A8A3-92B31247BE4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2" creationId="{694A7E2B-7994-424A-965C-9C6878917A6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3" creationId="{CFA04855-49C6-4B6F-ACD3-2C7AE2E7AF8A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4" creationId="{BA8FC654-6801-428F-A1FF-27CA71574ADE}"/>
          </ac:spMkLst>
        </pc:spChg>
        <pc:spChg chg="del">
          <ac:chgData name="Leonard Kreil" userId="d58e28bc-c49f-452c-9963-6e98572e3149" providerId="ADAL" clId="{B491A657-85CC-4977-A656-B3C472FA43A4}" dt="2023-06-21T07:30:36.361" v="223" actId="478"/>
          <ac:spMkLst>
            <pc:docMk/>
            <pc:sldMk cId="3035198051" sldId="260"/>
            <ac:spMk id="15" creationId="{AFFA5408-03E0-42D5-9EAC-E765FED4B91D}"/>
          </ac:spMkLst>
        </pc:spChg>
        <pc:spChg chg="del">
          <ac:chgData name="Leonard Kreil" userId="d58e28bc-c49f-452c-9963-6e98572e3149" providerId="ADAL" clId="{B491A657-85CC-4977-A656-B3C472FA43A4}" dt="2023-06-21T07:30:40.049" v="224" actId="478"/>
          <ac:spMkLst>
            <pc:docMk/>
            <pc:sldMk cId="3035198051" sldId="260"/>
            <ac:spMk id="16" creationId="{5B6688B5-52B3-48E6-A3E6-372D57C33EC5}"/>
          </ac:spMkLst>
        </pc:spChg>
        <pc:spChg chg="add mod">
          <ac:chgData name="Leonard Kreil" userId="d58e28bc-c49f-452c-9963-6e98572e3149" providerId="ADAL" clId="{B491A657-85CC-4977-A656-B3C472FA43A4}" dt="2023-06-21T07:38:54.663" v="298" actId="1076"/>
          <ac:spMkLst>
            <pc:docMk/>
            <pc:sldMk cId="3035198051" sldId="260"/>
            <ac:spMk id="18" creationId="{282EF949-451C-71E6-7125-8E80A90FDD27}"/>
          </ac:spMkLst>
        </pc:spChg>
        <pc:picChg chg="del">
          <ac:chgData name="Leonard Kreil" userId="d58e28bc-c49f-452c-9963-6e98572e3149" providerId="ADAL" clId="{B491A657-85CC-4977-A656-B3C472FA43A4}" dt="2023-06-21T07:30:28.414" v="221" actId="478"/>
          <ac:picMkLst>
            <pc:docMk/>
            <pc:sldMk cId="3035198051" sldId="260"/>
            <ac:picMk id="10" creationId="{A99A69D2-EDFB-4982-8B83-C035A30E8A39}"/>
          </ac:picMkLst>
        </pc:picChg>
        <pc:picChg chg="add mod">
          <ac:chgData name="Leonard Kreil" userId="d58e28bc-c49f-452c-9963-6e98572e3149" providerId="ADAL" clId="{B491A657-85CC-4977-A656-B3C472FA43A4}" dt="2023-06-21T07:38:16.901" v="286" actId="1076"/>
          <ac:picMkLst>
            <pc:docMk/>
            <pc:sldMk cId="3035198051" sldId="260"/>
            <ac:picMk id="6146" creationId="{823F30AF-EF72-28A4-7D9A-C0AEE52A3137}"/>
          </ac:picMkLst>
        </pc:pic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8" creationId="{DDC9A598-55C7-FDBB-7A21-EDA0EB5FE599}"/>
          </ac:cxnSpMkLst>
        </pc:cxn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17" creationId="{D22FF5A0-B611-2049-8191-4BFE2F057D2A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19" creationId="{CB0AA4C7-9A52-E375-310D-996C496AA2B6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21" creationId="{EB9ED2B4-3EF3-78C3-5B57-7ACF55EBC8DC}"/>
          </ac:cxnSpMkLst>
        </pc:cxnChg>
      </pc:sldChg>
      <pc:sldChg chg="addSp delSp modSp add mod ord">
        <pc:chgData name="Leonard Kreil" userId="d58e28bc-c49f-452c-9963-6e98572e3149" providerId="ADAL" clId="{B491A657-85CC-4977-A656-B3C472FA43A4}" dt="2023-06-21T08:15:02.029" v="1234" actId="20577"/>
        <pc:sldMkLst>
          <pc:docMk/>
          <pc:sldMk cId="1876703542" sldId="261"/>
        </pc:sldMkLst>
        <pc:spChg chg="mod">
          <ac:chgData name="Leonard Kreil" userId="d58e28bc-c49f-452c-9963-6e98572e3149" providerId="ADAL" clId="{B491A657-85CC-4977-A656-B3C472FA43A4}" dt="2023-06-21T08:15:02.029" v="1234" actId="20577"/>
          <ac:spMkLst>
            <pc:docMk/>
            <pc:sldMk cId="1876703542" sldId="261"/>
            <ac:spMk id="2" creationId="{B2EEC2FC-73D6-47A6-8C80-F8D60D62DB1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3" creationId="{2309DE0E-452A-8A32-0F94-A485D1FA6BF5}"/>
          </ac:spMkLst>
        </pc:spChg>
        <pc:spChg chg="del">
          <ac:chgData name="Leonard Kreil" userId="d58e28bc-c49f-452c-9963-6e98572e3149" providerId="ADAL" clId="{B491A657-85CC-4977-A656-B3C472FA43A4}" dt="2023-06-21T07:39:50.615" v="302" actId="478"/>
          <ac:spMkLst>
            <pc:docMk/>
            <pc:sldMk cId="1876703542" sldId="261"/>
            <ac:spMk id="5" creationId="{95C95B95-5B43-E35E-78FE-2F2DBB5E965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6" creationId="{0AFAD5A8-FEA2-1634-6451-D080FF3CD0B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42:27.201" v="351" actId="207"/>
          <ac:spMkLst>
            <pc:docMk/>
            <pc:sldMk cId="1876703542" sldId="261"/>
            <ac:spMk id="8" creationId="{094EFCAE-620B-65D8-E105-041C6748D89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9" creationId="{42C90EF7-296E-A9FE-C33D-83FDE7581EB4}"/>
          </ac:spMkLst>
        </pc:spChg>
        <pc:spChg chg="add mod">
          <ac:chgData name="Leonard Kreil" userId="d58e28bc-c49f-452c-9963-6e98572e3149" providerId="ADAL" clId="{B491A657-85CC-4977-A656-B3C472FA43A4}" dt="2023-06-21T07:42:38.761" v="353" actId="207"/>
          <ac:spMkLst>
            <pc:docMk/>
            <pc:sldMk cId="1876703542" sldId="261"/>
            <ac:spMk id="10" creationId="{60579E37-ED1E-6B09-F039-87BC55D3D7B6}"/>
          </ac:spMkLst>
        </pc:spChg>
        <pc:spChg chg="add mod">
          <ac:chgData name="Leonard Kreil" userId="d58e28bc-c49f-452c-9963-6e98572e3149" providerId="ADAL" clId="{B491A657-85CC-4977-A656-B3C472FA43A4}" dt="2023-06-21T07:42:33.035" v="352" actId="207"/>
          <ac:spMkLst>
            <pc:docMk/>
            <pc:sldMk cId="1876703542" sldId="261"/>
            <ac:spMk id="11" creationId="{9E6BD7F4-1F05-3DF7-6E5C-49D1B5D44C42}"/>
          </ac:spMkLst>
        </pc:spChg>
        <pc:spChg chg="add del mod">
          <ac:chgData name="Leonard Kreil" userId="d58e28bc-c49f-452c-9963-6e98572e3149" providerId="ADAL" clId="{B491A657-85CC-4977-A656-B3C472FA43A4}" dt="2023-06-21T07:42:14.896" v="349"/>
          <ac:spMkLst>
            <pc:docMk/>
            <pc:sldMk cId="1876703542" sldId="261"/>
            <ac:spMk id="12" creationId="{5AF88888-5032-00E8-36DB-D4C356505AEE}"/>
          </ac:spMkLst>
        </pc:spChg>
        <pc:spChg chg="add del mod">
          <ac:chgData name="Leonard Kreil" userId="d58e28bc-c49f-452c-9963-6e98572e3149" providerId="ADAL" clId="{B491A657-85CC-4977-A656-B3C472FA43A4}" dt="2023-06-21T07:41:47.409" v="326" actId="767"/>
          <ac:spMkLst>
            <pc:docMk/>
            <pc:sldMk cId="1876703542" sldId="261"/>
            <ac:spMk id="13" creationId="{6C00D4B5-504D-12BF-4DA8-E4A746E0958B}"/>
          </ac:spMkLst>
        </pc:spChg>
        <pc:spChg chg="add mod">
          <ac:chgData name="Leonard Kreil" userId="d58e28bc-c49f-452c-9963-6e98572e3149" providerId="ADAL" clId="{B491A657-85CC-4977-A656-B3C472FA43A4}" dt="2023-06-21T07:42:22.949" v="350" actId="207"/>
          <ac:spMkLst>
            <pc:docMk/>
            <pc:sldMk cId="1876703542" sldId="261"/>
            <ac:spMk id="14" creationId="{2362E827-3E10-86F8-504D-9EAED37C8B19}"/>
          </ac:spMkLst>
        </pc:spChg>
        <pc:spChg chg="add mod">
          <ac:chgData name="Leonard Kreil" userId="d58e28bc-c49f-452c-9963-6e98572e3149" providerId="ADAL" clId="{B491A657-85CC-4977-A656-B3C472FA43A4}" dt="2023-06-21T07:43:27.776" v="384" actId="1076"/>
          <ac:spMkLst>
            <pc:docMk/>
            <pc:sldMk cId="1876703542" sldId="261"/>
            <ac:spMk id="15" creationId="{A57CE18D-B5A4-3B7C-C360-9F1961A9C292}"/>
          </ac:spMkLst>
        </pc:spChg>
        <pc:spChg chg="add mod">
          <ac:chgData name="Leonard Kreil" userId="d58e28bc-c49f-452c-9963-6e98572e3149" providerId="ADAL" clId="{B491A657-85CC-4977-A656-B3C472FA43A4}" dt="2023-06-21T07:44:03.151" v="388" actId="207"/>
          <ac:spMkLst>
            <pc:docMk/>
            <pc:sldMk cId="1876703542" sldId="261"/>
            <ac:spMk id="16" creationId="{3CFD3C4B-9F3C-9860-9AB4-DC0832B6534D}"/>
          </ac:spMkLst>
        </pc:spChg>
        <pc:spChg chg="add del mod">
          <ac:chgData name="Leonard Kreil" userId="d58e28bc-c49f-452c-9963-6e98572e3149" providerId="ADAL" clId="{B491A657-85CC-4977-A656-B3C472FA43A4}" dt="2023-06-21T07:44:19.647" v="390"/>
          <ac:spMkLst>
            <pc:docMk/>
            <pc:sldMk cId="1876703542" sldId="261"/>
            <ac:spMk id="17" creationId="{EEADB649-4CC3-1AC0-3102-4615732FE46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18" creationId="{282EF949-451C-71E6-7125-8E80A90FDD27}"/>
          </ac:spMkLst>
        </pc:spChg>
        <pc:spChg chg="add mod">
          <ac:chgData name="Leonard Kreil" userId="d58e28bc-c49f-452c-9963-6e98572e3149" providerId="ADAL" clId="{B491A657-85CC-4977-A656-B3C472FA43A4}" dt="2023-06-21T07:44:34.725" v="394" actId="1076"/>
          <ac:spMkLst>
            <pc:docMk/>
            <pc:sldMk cId="1876703542" sldId="261"/>
            <ac:spMk id="19" creationId="{A9FD266C-F889-CBA7-8D2C-10F6BF6B30B9}"/>
          </ac:spMkLst>
        </pc:spChg>
        <pc:picChg chg="del">
          <ac:chgData name="Leonard Kreil" userId="d58e28bc-c49f-452c-9963-6e98572e3149" providerId="ADAL" clId="{B491A657-85CC-4977-A656-B3C472FA43A4}" dt="2023-06-21T07:39:37.510" v="300" actId="478"/>
          <ac:picMkLst>
            <pc:docMk/>
            <pc:sldMk cId="1876703542" sldId="261"/>
            <ac:picMk id="6146" creationId="{823F30AF-EF72-28A4-7D9A-C0AEE52A3137}"/>
          </ac:picMkLst>
        </pc:picChg>
        <pc:picChg chg="add mod">
          <ac:chgData name="Leonard Kreil" userId="d58e28bc-c49f-452c-9963-6e98572e3149" providerId="ADAL" clId="{B491A657-85CC-4977-A656-B3C472FA43A4}" dt="2023-06-21T07:43:37.820" v="385" actId="1076"/>
          <ac:picMkLst>
            <pc:docMk/>
            <pc:sldMk cId="1876703542" sldId="261"/>
            <ac:picMk id="7170" creationId="{50C6BE9C-2E7C-9B47-2592-8CD59A12225E}"/>
          </ac:picMkLst>
        </pc:picChg>
      </pc:sldChg>
      <pc:sldChg chg="new add del mod modShow">
        <pc:chgData name="Leonard Kreil" userId="d58e28bc-c49f-452c-9963-6e98572e3149" providerId="ADAL" clId="{B491A657-85CC-4977-A656-B3C472FA43A4}" dt="2023-06-21T07:46:51.085" v="400" actId="2696"/>
        <pc:sldMkLst>
          <pc:docMk/>
          <pc:sldMk cId="2051722465" sldId="262"/>
        </pc:sldMkLst>
      </pc:sldChg>
      <pc:sldChg chg="addSp delSp modSp new mod">
        <pc:chgData name="Leonard Kreil" userId="d58e28bc-c49f-452c-9963-6e98572e3149" providerId="ADAL" clId="{B491A657-85CC-4977-A656-B3C472FA43A4}" dt="2023-06-21T07:52:43.750" v="557" actId="1076"/>
        <pc:sldMkLst>
          <pc:docMk/>
          <pc:sldMk cId="3939254228" sldId="262"/>
        </pc:sldMkLst>
        <pc:spChg chg="mod">
          <ac:chgData name="Leonard Kreil" userId="d58e28bc-c49f-452c-9963-6e98572e3149" providerId="ADAL" clId="{B491A657-85CC-4977-A656-B3C472FA43A4}" dt="2023-06-21T07:47:10.794" v="403" actId="122"/>
          <ac:spMkLst>
            <pc:docMk/>
            <pc:sldMk cId="3939254228" sldId="262"/>
            <ac:spMk id="2" creationId="{B3514B28-2C88-2506-23FA-FF1D6053A2AE}"/>
          </ac:spMkLst>
        </pc:spChg>
        <pc:spChg chg="mod">
          <ac:chgData name="Leonard Kreil" userId="d58e28bc-c49f-452c-9963-6e98572e3149" providerId="ADAL" clId="{B491A657-85CC-4977-A656-B3C472FA43A4}" dt="2023-06-21T07:51:18.775" v="527" actId="13822"/>
          <ac:spMkLst>
            <pc:docMk/>
            <pc:sldMk cId="3939254228" sldId="262"/>
            <ac:spMk id="3" creationId="{CE5E2C11-52F2-2FA9-AFF8-C7EEF40E9629}"/>
          </ac:spMkLst>
        </pc:spChg>
        <pc:spChg chg="add del mod">
          <ac:chgData name="Leonard Kreil" userId="d58e28bc-c49f-452c-9963-6e98572e3149" providerId="ADAL" clId="{B491A657-85CC-4977-A656-B3C472FA43A4}" dt="2023-06-21T07:47:52.233" v="432" actId="478"/>
          <ac:spMkLst>
            <pc:docMk/>
            <pc:sldMk cId="3939254228" sldId="262"/>
            <ac:spMk id="4" creationId="{467D5DCE-4E36-A3EF-CCFD-287B1B9EFC5C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7" creationId="{9F94CABB-117E-DBFB-8007-8705BDBF318D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8" creationId="{E1983497-EB0F-89D3-82DB-19A30892EA3A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9" creationId="{881EB6A3-93B6-34E0-D232-0CB4319D3C1E}"/>
          </ac:spMkLst>
        </pc:spChg>
        <pc:picChg chg="add del mod">
          <ac:chgData name="Leonard Kreil" userId="d58e28bc-c49f-452c-9963-6e98572e3149" providerId="ADAL" clId="{B491A657-85CC-4977-A656-B3C472FA43A4}" dt="2023-06-21T07:50:24.527" v="496" actId="478"/>
          <ac:picMkLst>
            <pc:docMk/>
            <pc:sldMk cId="3939254228" sldId="262"/>
            <ac:picMk id="6" creationId="{6F4CA383-4EE4-0B7C-E730-C3383D943D2B}"/>
          </ac:picMkLst>
        </pc:pic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1" creationId="{4B735F15-1D89-DBAF-436D-430742450C3E}"/>
          </ac:cxnSpMkLst>
        </pc:cxn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3" creationId="{E7F8C327-7203-BCFC-3546-1C1F33E3FE66}"/>
          </ac:cxnSpMkLst>
        </pc:cxnChg>
      </pc:sldChg>
      <pc:sldChg chg="addSp delSp modSp new mod">
        <pc:chgData name="Leonard Kreil" userId="d58e28bc-c49f-452c-9963-6e98572e3149" providerId="ADAL" clId="{B491A657-85CC-4977-A656-B3C472FA43A4}" dt="2023-06-21T07:54:02.306" v="594" actId="478"/>
        <pc:sldMkLst>
          <pc:docMk/>
          <pc:sldMk cId="1629267464" sldId="263"/>
        </pc:sldMkLst>
        <pc:spChg chg="mod">
          <ac:chgData name="Leonard Kreil" userId="d58e28bc-c49f-452c-9963-6e98572e3149" providerId="ADAL" clId="{B491A657-85CC-4977-A656-B3C472FA43A4}" dt="2023-06-21T07:53:15.233" v="586" actId="122"/>
          <ac:spMkLst>
            <pc:docMk/>
            <pc:sldMk cId="1629267464" sldId="263"/>
            <ac:spMk id="2" creationId="{E8A2A1D8-FBBA-E2B9-03B0-B989BF54F233}"/>
          </ac:spMkLst>
        </pc:spChg>
        <pc:spChg chg="del">
          <ac:chgData name="Leonard Kreil" userId="d58e28bc-c49f-452c-9963-6e98572e3149" providerId="ADAL" clId="{B491A657-85CC-4977-A656-B3C472FA43A4}" dt="2023-06-21T07:54:02.306" v="594" actId="478"/>
          <ac:spMkLst>
            <pc:docMk/>
            <pc:sldMk cId="1629267464" sldId="263"/>
            <ac:spMk id="3" creationId="{34159D92-5EA6-47D1-C626-DDF02C1B0076}"/>
          </ac:spMkLst>
        </pc:spChg>
        <pc:spChg chg="add del">
          <ac:chgData name="Leonard Kreil" userId="d58e28bc-c49f-452c-9963-6e98572e3149" providerId="ADAL" clId="{B491A657-85CC-4977-A656-B3C472FA43A4}" dt="2023-06-21T07:53:26.361" v="588"/>
          <ac:spMkLst>
            <pc:docMk/>
            <pc:sldMk cId="1629267464" sldId="263"/>
            <ac:spMk id="4" creationId="{B656C989-D1DE-0863-4059-DEE085CEB7FE}"/>
          </ac:spMkLst>
        </pc:spChg>
        <pc:picChg chg="add mod">
          <ac:chgData name="Leonard Kreil" userId="d58e28bc-c49f-452c-9963-6e98572e3149" providerId="ADAL" clId="{B491A657-85CC-4977-A656-B3C472FA43A4}" dt="2023-06-21T07:54:00.260" v="593" actId="1076"/>
          <ac:picMkLst>
            <pc:docMk/>
            <pc:sldMk cId="1629267464" sldId="263"/>
            <ac:picMk id="6" creationId="{F3AE40D6-8C3E-B225-DCE0-9021EF92AEC5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4:58.602" v="630" actId="478"/>
        <pc:sldMkLst>
          <pc:docMk/>
          <pc:sldMk cId="148813164" sldId="264"/>
        </pc:sldMkLst>
        <pc:spChg chg="mod">
          <ac:chgData name="Leonard Kreil" userId="d58e28bc-c49f-452c-9963-6e98572e3149" providerId="ADAL" clId="{B491A657-85CC-4977-A656-B3C472FA43A4}" dt="2023-06-21T07:54:22.246" v="627" actId="122"/>
          <ac:spMkLst>
            <pc:docMk/>
            <pc:sldMk cId="148813164" sldId="264"/>
            <ac:spMk id="2" creationId="{70B1B13D-A1FF-81EC-9C76-05084ACC679F}"/>
          </ac:spMkLst>
        </pc:spChg>
        <pc:spChg chg="del">
          <ac:chgData name="Leonard Kreil" userId="d58e28bc-c49f-452c-9963-6e98572e3149" providerId="ADAL" clId="{B491A657-85CC-4977-A656-B3C472FA43A4}" dt="2023-06-21T07:54:58.602" v="630" actId="478"/>
          <ac:spMkLst>
            <pc:docMk/>
            <pc:sldMk cId="148813164" sldId="264"/>
            <ac:spMk id="3" creationId="{511A778C-EB98-78E4-8A11-C689F5EEFBE9}"/>
          </ac:spMkLst>
        </pc:spChg>
        <pc:picChg chg="add mod">
          <ac:chgData name="Leonard Kreil" userId="d58e28bc-c49f-452c-9963-6e98572e3149" providerId="ADAL" clId="{B491A657-85CC-4977-A656-B3C472FA43A4}" dt="2023-06-21T07:54:55.597" v="629" actId="1076"/>
          <ac:picMkLst>
            <pc:docMk/>
            <pc:sldMk cId="148813164" sldId="264"/>
            <ac:picMk id="5" creationId="{3ED2318A-0F78-9FA8-1EAF-47B496B97BA9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6:02.215" v="653" actId="122"/>
        <pc:sldMkLst>
          <pc:docMk/>
          <pc:sldMk cId="3544130128" sldId="265"/>
        </pc:sldMkLst>
        <pc:spChg chg="mod">
          <ac:chgData name="Leonard Kreil" userId="d58e28bc-c49f-452c-9963-6e98572e3149" providerId="ADAL" clId="{B491A657-85CC-4977-A656-B3C472FA43A4}" dt="2023-06-21T07:56:02.215" v="653" actId="122"/>
          <ac:spMkLst>
            <pc:docMk/>
            <pc:sldMk cId="3544130128" sldId="265"/>
            <ac:spMk id="2" creationId="{99BF7144-0A9F-0D38-C62D-77F7125BE71A}"/>
          </ac:spMkLst>
        </pc:spChg>
        <pc:spChg chg="del">
          <ac:chgData name="Leonard Kreil" userId="d58e28bc-c49f-452c-9963-6e98572e3149" providerId="ADAL" clId="{B491A657-85CC-4977-A656-B3C472FA43A4}" dt="2023-06-21T07:55:42.164" v="649" actId="22"/>
          <ac:spMkLst>
            <pc:docMk/>
            <pc:sldMk cId="3544130128" sldId="265"/>
            <ac:spMk id="3" creationId="{BBCAF73C-C7E7-6AC0-C412-60092CD49334}"/>
          </ac:spMkLst>
        </pc:spChg>
        <pc:picChg chg="add mod ord">
          <ac:chgData name="Leonard Kreil" userId="d58e28bc-c49f-452c-9963-6e98572e3149" providerId="ADAL" clId="{B491A657-85CC-4977-A656-B3C472FA43A4}" dt="2023-06-21T07:55:58.940" v="652" actId="1076"/>
          <ac:picMkLst>
            <pc:docMk/>
            <pc:sldMk cId="3544130128" sldId="265"/>
            <ac:picMk id="5" creationId="{5891BFF0-2088-869A-4016-F46F902F3F9F}"/>
          </ac:picMkLst>
        </pc:picChg>
      </pc:sldChg>
      <pc:sldChg chg="modSp new mod">
        <pc:chgData name="Leonard Kreil" userId="d58e28bc-c49f-452c-9963-6e98572e3149" providerId="ADAL" clId="{B491A657-85CC-4977-A656-B3C472FA43A4}" dt="2023-06-21T08:05:01.001" v="1136" actId="20577"/>
        <pc:sldMkLst>
          <pc:docMk/>
          <pc:sldMk cId="3913850598" sldId="266"/>
        </pc:sldMkLst>
        <pc:spChg chg="mod">
          <ac:chgData name="Leonard Kreil" userId="d58e28bc-c49f-452c-9963-6e98572e3149" providerId="ADAL" clId="{B491A657-85CC-4977-A656-B3C472FA43A4}" dt="2023-06-21T07:57:34.597" v="701" actId="122"/>
          <ac:spMkLst>
            <pc:docMk/>
            <pc:sldMk cId="3913850598" sldId="266"/>
            <ac:spMk id="2" creationId="{DB6838A6-338A-D39B-AB94-291C465AE81D}"/>
          </ac:spMkLst>
        </pc:spChg>
        <pc:spChg chg="mod">
          <ac:chgData name="Leonard Kreil" userId="d58e28bc-c49f-452c-9963-6e98572e3149" providerId="ADAL" clId="{B491A657-85CC-4977-A656-B3C472FA43A4}" dt="2023-06-21T08:05:01.001" v="1136" actId="20577"/>
          <ac:spMkLst>
            <pc:docMk/>
            <pc:sldMk cId="3913850598" sldId="266"/>
            <ac:spMk id="3" creationId="{55BB2D6B-C268-59EA-6068-771C3A36BDF4}"/>
          </ac:spMkLst>
        </pc:spChg>
      </pc:sldChg>
      <pc:sldChg chg="addSp delSp modSp new del mod">
        <pc:chgData name="Leonard Kreil" userId="d58e28bc-c49f-452c-9963-6e98572e3149" providerId="ADAL" clId="{B491A657-85CC-4977-A656-B3C472FA43A4}" dt="2023-06-21T08:15:17.037" v="1235" actId="2696"/>
        <pc:sldMkLst>
          <pc:docMk/>
          <pc:sldMk cId="1842853136" sldId="267"/>
        </pc:sldMkLst>
        <pc:spChg chg="del">
          <ac:chgData name="Leonard Kreil" userId="d58e28bc-c49f-452c-9963-6e98572e3149" providerId="ADAL" clId="{B491A657-85CC-4977-A656-B3C472FA43A4}" dt="2023-06-21T08:12:50.553" v="1142"/>
          <ac:spMkLst>
            <pc:docMk/>
            <pc:sldMk cId="1842853136" sldId="267"/>
            <ac:spMk id="3" creationId="{6D7CCFB3-57E8-3E9B-04A0-6E9D5EC581F8}"/>
          </ac:spMkLst>
        </pc:spChg>
        <pc:picChg chg="add del mod">
          <ac:chgData name="Leonard Kreil" userId="d58e28bc-c49f-452c-9963-6e98572e3149" providerId="ADAL" clId="{B491A657-85CC-4977-A656-B3C472FA43A4}" dt="2023-06-21T08:09:36.406" v="1141" actId="478"/>
          <ac:picMkLst>
            <pc:docMk/>
            <pc:sldMk cId="1842853136" sldId="267"/>
            <ac:picMk id="5" creationId="{CB83F794-86AC-C0D7-8457-416E06E1DD1F}"/>
          </ac:picMkLst>
        </pc:picChg>
        <pc:picChg chg="add mod">
          <ac:chgData name="Leonard Kreil" userId="d58e28bc-c49f-452c-9963-6e98572e3149" providerId="ADAL" clId="{B491A657-85CC-4977-A656-B3C472FA43A4}" dt="2023-06-21T08:12:53.477" v="1143" actId="1076"/>
          <ac:picMkLst>
            <pc:docMk/>
            <pc:sldMk cId="1842853136" sldId="267"/>
            <ac:picMk id="10242" creationId="{382526F8-CDA9-89DC-456D-464DA37D593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18:50.218" v="1618" actId="20577"/>
        <pc:sldMkLst>
          <pc:docMk/>
          <pc:sldMk cId="3273420244" sldId="268"/>
        </pc:sldMkLst>
        <pc:spChg chg="del">
          <ac:chgData name="Leonard Kreil" userId="d58e28bc-c49f-452c-9963-6e98572e3149" providerId="ADAL" clId="{B491A657-85CC-4977-A656-B3C472FA43A4}" dt="2023-06-21T08:13:07.203" v="1145" actId="478"/>
          <ac:spMkLst>
            <pc:docMk/>
            <pc:sldMk cId="3273420244" sldId="268"/>
            <ac:spMk id="2" creationId="{B39C1E59-D977-6680-4C0E-E82DFA0C9164}"/>
          </ac:spMkLst>
        </pc:spChg>
        <pc:spChg chg="mod">
          <ac:chgData name="Leonard Kreil" userId="d58e28bc-c49f-452c-9963-6e98572e3149" providerId="ADAL" clId="{B491A657-85CC-4977-A656-B3C472FA43A4}" dt="2023-06-21T08:14:01.552" v="1163" actId="20577"/>
          <ac:spMkLst>
            <pc:docMk/>
            <pc:sldMk cId="3273420244" sldId="268"/>
            <ac:spMk id="3" creationId="{8FF83893-3156-99A7-533C-31649F02A2E0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4" creationId="{9B06980E-C578-77C0-4917-AB1B444944C8}"/>
          </ac:spMkLst>
        </pc:spChg>
        <pc:spChg chg="mod">
          <ac:chgData name="Leonard Kreil" userId="d58e28bc-c49f-452c-9963-6e98572e3149" providerId="ADAL" clId="{B491A657-85CC-4977-A656-B3C472FA43A4}" dt="2023-06-21T08:14:05.339" v="1169" actId="20577"/>
          <ac:spMkLst>
            <pc:docMk/>
            <pc:sldMk cId="3273420244" sldId="268"/>
            <ac:spMk id="5" creationId="{4F15C258-942D-69F4-F198-4E0AB2460282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6" creationId="{9DCE3CE2-6BD9-C006-79EA-F5F3EA873B8B}"/>
          </ac:spMkLst>
        </pc:spChg>
        <pc:picChg chg="add mod">
          <ac:chgData name="Leonard Kreil" userId="d58e28bc-c49f-452c-9963-6e98572e3149" providerId="ADAL" clId="{B491A657-85CC-4977-A656-B3C472FA43A4}" dt="2023-06-21T08:13:26.237" v="1149" actId="1076"/>
          <ac:picMkLst>
            <pc:docMk/>
            <pc:sldMk cId="3273420244" sldId="268"/>
            <ac:picMk id="7" creationId="{22CE64E6-4087-96F3-2386-6184786CF95D}"/>
          </ac:picMkLst>
        </pc:picChg>
        <pc:picChg chg="add mod">
          <ac:chgData name="Leonard Kreil" userId="d58e28bc-c49f-452c-9963-6e98572e3149" providerId="ADAL" clId="{B491A657-85CC-4977-A656-B3C472FA43A4}" dt="2023-06-21T08:13:56.685" v="1155" actId="1076"/>
          <ac:picMkLst>
            <pc:docMk/>
            <pc:sldMk cId="3273420244" sldId="268"/>
            <ac:picMk id="11266" creationId="{E77721E4-C1A0-4FDA-02D0-D5B85164251A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1:04.329" v="1816" actId="20577"/>
        <pc:sldMkLst>
          <pc:docMk/>
          <pc:sldMk cId="766503914" sldId="269"/>
        </pc:sldMkLst>
        <pc:spChg chg="mod">
          <ac:chgData name="Leonard Kreil" userId="d58e28bc-c49f-452c-9963-6e98572e3149" providerId="ADAL" clId="{B491A657-85CC-4977-A656-B3C472FA43A4}" dt="2023-06-21T08:15:38.940" v="1247" actId="122"/>
          <ac:spMkLst>
            <pc:docMk/>
            <pc:sldMk cId="766503914" sldId="269"/>
            <ac:spMk id="2" creationId="{14970F70-0D32-D9AE-8373-D5CDBD586439}"/>
          </ac:spMkLst>
        </pc:spChg>
        <pc:spChg chg="del">
          <ac:chgData name="Leonard Kreil" userId="d58e28bc-c49f-452c-9963-6e98572e3149" providerId="ADAL" clId="{B491A657-85CC-4977-A656-B3C472FA43A4}" dt="2023-06-21T08:15:43.072" v="1248" actId="478"/>
          <ac:spMkLst>
            <pc:docMk/>
            <pc:sldMk cId="766503914" sldId="269"/>
            <ac:spMk id="3" creationId="{4FD5FFD4-4BB1-3084-3641-3BCF198E12A0}"/>
          </ac:spMkLst>
        </pc:spChg>
        <pc:picChg chg="add mod">
          <ac:chgData name="Leonard Kreil" userId="d58e28bc-c49f-452c-9963-6e98572e3149" providerId="ADAL" clId="{B491A657-85CC-4977-A656-B3C472FA43A4}" dt="2023-06-21T08:15:49.015" v="1250" actId="1076"/>
          <ac:picMkLst>
            <pc:docMk/>
            <pc:sldMk cId="766503914" sldId="269"/>
            <ac:picMk id="12290" creationId="{17A992A8-00A6-E016-85A4-4B4BB4CD2C5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8:57.405" v="2077" actId="478"/>
        <pc:sldMkLst>
          <pc:docMk/>
          <pc:sldMk cId="2159367081" sldId="270"/>
        </pc:sldMkLst>
        <pc:spChg chg="mod">
          <ac:chgData name="Leonard Kreil" userId="d58e28bc-c49f-452c-9963-6e98572e3149" providerId="ADAL" clId="{B491A657-85CC-4977-A656-B3C472FA43A4}" dt="2023-06-21T08:21:37.133" v="1841" actId="20577"/>
          <ac:spMkLst>
            <pc:docMk/>
            <pc:sldMk cId="2159367081" sldId="270"/>
            <ac:spMk id="2" creationId="{A35B6586-3995-F33A-4571-CA243208F616}"/>
          </ac:spMkLst>
        </pc:spChg>
        <pc:spChg chg="del">
          <ac:chgData name="Leonard Kreil" userId="d58e28bc-c49f-452c-9963-6e98572e3149" providerId="ADAL" clId="{B491A657-85CC-4977-A656-B3C472FA43A4}" dt="2023-06-21T08:21:18.463" v="1818"/>
          <ac:spMkLst>
            <pc:docMk/>
            <pc:sldMk cId="2159367081" sldId="270"/>
            <ac:spMk id="3" creationId="{2475E51D-54CB-A1E2-9931-44C9C2A55949}"/>
          </ac:spMkLst>
        </pc:spChg>
        <pc:spChg chg="add del mod">
          <ac:chgData name="Leonard Kreil" userId="d58e28bc-c49f-452c-9963-6e98572e3149" providerId="ADAL" clId="{B491A657-85CC-4977-A656-B3C472FA43A4}" dt="2023-06-21T08:28:57.405" v="2077" actId="478"/>
          <ac:spMkLst>
            <pc:docMk/>
            <pc:sldMk cId="2159367081" sldId="270"/>
            <ac:spMk id="4" creationId="{94168778-7B9C-A259-5469-BCB9C14B8675}"/>
          </ac:spMkLst>
        </pc:spChg>
        <pc:picChg chg="add del mod">
          <ac:chgData name="Leonard Kreil" userId="d58e28bc-c49f-452c-9963-6e98572e3149" providerId="ADAL" clId="{B491A657-85CC-4977-A656-B3C472FA43A4}" dt="2023-06-21T08:28:43.891" v="2072" actId="478"/>
          <ac:picMkLst>
            <pc:docMk/>
            <pc:sldMk cId="2159367081" sldId="270"/>
            <ac:picMk id="13314" creationId="{2A920782-0106-79FE-3F72-2B6B6413968C}"/>
          </ac:picMkLst>
        </pc:picChg>
        <pc:picChg chg="add mod">
          <ac:chgData name="Leonard Kreil" userId="d58e28bc-c49f-452c-9963-6e98572e3149" providerId="ADAL" clId="{B491A657-85CC-4977-A656-B3C472FA43A4}" dt="2023-06-21T08:28:54.999" v="2076" actId="1076"/>
          <ac:picMkLst>
            <pc:docMk/>
            <pc:sldMk cId="2159367081" sldId="270"/>
            <ac:picMk id="13316" creationId="{8075DFF2-2F1D-C6F3-AB40-43EFDB702688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32:19.615" v="2372" actId="20577"/>
        <pc:sldMkLst>
          <pc:docMk/>
          <pc:sldMk cId="100445414" sldId="271"/>
        </pc:sldMkLst>
        <pc:spChg chg="mod">
          <ac:chgData name="Leonard Kreil" userId="d58e28bc-c49f-452c-9963-6e98572e3149" providerId="ADAL" clId="{B491A657-85CC-4977-A656-B3C472FA43A4}" dt="2023-06-21T08:30:10.162" v="2123" actId="20577"/>
          <ac:spMkLst>
            <pc:docMk/>
            <pc:sldMk cId="100445414" sldId="271"/>
            <ac:spMk id="2" creationId="{BF307820-F915-206D-E13B-740CF9858D9B}"/>
          </ac:spMkLst>
        </pc:spChg>
        <pc:spChg chg="del">
          <ac:chgData name="Leonard Kreil" userId="d58e28bc-c49f-452c-9963-6e98572e3149" providerId="ADAL" clId="{B491A657-85CC-4977-A656-B3C472FA43A4}" dt="2023-06-21T08:29:32.005" v="2079"/>
          <ac:spMkLst>
            <pc:docMk/>
            <pc:sldMk cId="100445414" sldId="271"/>
            <ac:spMk id="3" creationId="{A7316079-1CEA-D931-1CF9-F89956F77C46}"/>
          </ac:spMkLst>
        </pc:spChg>
        <pc:picChg chg="add mod">
          <ac:chgData name="Leonard Kreil" userId="d58e28bc-c49f-452c-9963-6e98572e3149" providerId="ADAL" clId="{B491A657-85CC-4977-A656-B3C472FA43A4}" dt="2023-06-21T08:29:40.890" v="2082" actId="1076"/>
          <ac:picMkLst>
            <pc:docMk/>
            <pc:sldMk cId="100445414" sldId="271"/>
            <ac:picMk id="14338" creationId="{29A9D80B-5B79-76F2-6F45-5339A0C3DC6E}"/>
          </ac:picMkLst>
        </pc:picChg>
        <pc:picChg chg="add mod">
          <ac:chgData name="Leonard Kreil" userId="d58e28bc-c49f-452c-9963-6e98572e3149" providerId="ADAL" clId="{B491A657-85CC-4977-A656-B3C472FA43A4}" dt="2023-06-21T08:29:44.851" v="2083" actId="1076"/>
          <ac:picMkLst>
            <pc:docMk/>
            <pc:sldMk cId="100445414" sldId="271"/>
            <ac:picMk id="14340" creationId="{AE8F33C4-C2E3-6347-8B41-D4C1C0B1A96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514FA4-38DA-4A0A-83B3-BF3465BFA09E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1A0F6-A1E5-4690-90E5-50C8B555DFF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900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de-DE" b="1" i="0" dirty="0">
                <a:solidFill>
                  <a:srgbClr val="000000"/>
                </a:solidFill>
                <a:effectLst/>
                <a:latin typeface="inherit"/>
              </a:rPr>
              <a:t>Gesteuerte Systeme</a:t>
            </a:r>
            <a:endParaRPr lang="de-DE" b="0" i="0" dirty="0">
              <a:solidFill>
                <a:srgbClr val="000000"/>
              </a:solidFill>
              <a:effectLst/>
              <a:latin typeface="Open Sans" panose="020F050202020403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ABS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Airbag-Steuer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elektronische Getriebesteuer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Klimaregel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 err="1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Precrash</a:t>
            </a: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-Sensorik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Umgebungskamera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374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Start: dient der Synchronisation,</a:t>
            </a:r>
          </a:p>
          <a:p>
            <a:r>
              <a:rPr lang="de-DE" dirty="0"/>
              <a:t>• Identifier: Information für den Empfänger und Prioritätsinformation für die</a:t>
            </a:r>
          </a:p>
          <a:p>
            <a:r>
              <a:rPr lang="de-DE" dirty="0" err="1"/>
              <a:t>Busarbitrierung</a:t>
            </a:r>
            <a:r>
              <a:rPr lang="de-DE" dirty="0"/>
              <a:t>,</a:t>
            </a:r>
          </a:p>
          <a:p>
            <a:r>
              <a:rPr lang="de-DE" dirty="0"/>
              <a:t>• RTR: unterscheidet zwischen Daten- (dominant) und Datenanforderungstelegramm (rezessiv),</a:t>
            </a:r>
          </a:p>
          <a:p>
            <a:r>
              <a:rPr lang="de-DE" dirty="0"/>
              <a:t>• IDE: Identifier Extension,</a:t>
            </a:r>
          </a:p>
          <a:p>
            <a:r>
              <a:rPr lang="de-DE" dirty="0"/>
              <a:t>• r0: reserviert,</a:t>
            </a:r>
          </a:p>
          <a:p>
            <a:r>
              <a:rPr lang="de-DE" dirty="0"/>
              <a:t>• DLC: enthält die Längeninformation der nachfolgenden Daten,</a:t>
            </a:r>
          </a:p>
          <a:p>
            <a:r>
              <a:rPr lang="de-DE" dirty="0"/>
              <a:t>• DATA: enthält die Daten des Telegramms,</a:t>
            </a:r>
          </a:p>
          <a:p>
            <a:r>
              <a:rPr lang="de-DE" dirty="0"/>
              <a:t>• CRC: kennzeichnet den Fehlercode für die vorangegangenen Informationen. Die CRC</a:t>
            </a:r>
          </a:p>
          <a:p>
            <a:r>
              <a:rPr lang="de-DE" dirty="0"/>
              <a:t>Prüfsumme wird zur Fehlererkennung verwendet,</a:t>
            </a:r>
          </a:p>
          <a:p>
            <a:r>
              <a:rPr lang="de-DE" dirty="0"/>
              <a:t>• ACK: enthält Rückmeldung von anderen Teilnehmern bei korrektem Empfang der</a:t>
            </a:r>
          </a:p>
          <a:p>
            <a:r>
              <a:rPr lang="de-DE" dirty="0"/>
              <a:t>Nachricht,</a:t>
            </a:r>
          </a:p>
          <a:p>
            <a:r>
              <a:rPr lang="de-DE" dirty="0"/>
              <a:t>• EOF: kennzeichnet das Ende des Datentelegramms (7 rezessive Bits),</a:t>
            </a:r>
          </a:p>
          <a:p>
            <a:r>
              <a:rPr lang="de-DE" dirty="0"/>
              <a:t>• IFS: kennzeichnet den Zeitraum für das Übertragen einer korrekt empfangenen</a:t>
            </a:r>
          </a:p>
          <a:p>
            <a:r>
              <a:rPr lang="de-DE" dirty="0"/>
              <a:t>Nachricht,</a:t>
            </a:r>
          </a:p>
          <a:p>
            <a:r>
              <a:rPr lang="de-DE" dirty="0"/>
              <a:t>• SRR: ersetzt im Extended Frame das RTR Bit des Standard Frames,</a:t>
            </a:r>
          </a:p>
          <a:p>
            <a:r>
              <a:rPr lang="de-DE" dirty="0"/>
              <a:t>• IDE: zeigt an, dass noch weitere 18 Bits folgen,</a:t>
            </a:r>
          </a:p>
          <a:p>
            <a:r>
              <a:rPr lang="de-DE" dirty="0"/>
              <a:t>• r1, r0, reservierte Bits,</a:t>
            </a:r>
          </a:p>
          <a:p>
            <a:r>
              <a:rPr lang="de-DE" dirty="0"/>
              <a:t>• DLC: Längeninformation der nachfolgenden Dat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622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uttons:</a:t>
            </a:r>
            <a:br>
              <a:rPr lang="de-DE" dirty="0"/>
            </a:br>
            <a:r>
              <a:rPr lang="de-DE" dirty="0"/>
              <a:t>	- 10kOhm </a:t>
            </a:r>
            <a:r>
              <a:rPr lang="de-DE" dirty="0" err="1"/>
              <a:t>PullUps</a:t>
            </a:r>
            <a:r>
              <a:rPr lang="de-DE" dirty="0"/>
              <a:t>, im nicht gedrückt zustand hat der Pin 3,3 Volt im gedrückten dann 0 Volt, Pin hat im nicht </a:t>
            </a:r>
            <a:r>
              <a:rPr lang="de-DE" dirty="0" err="1"/>
              <a:t>gedrücken</a:t>
            </a:r>
            <a:r>
              <a:rPr lang="de-DE" dirty="0"/>
              <a:t> zustand definierten wert </a:t>
            </a:r>
          </a:p>
          <a:p>
            <a:r>
              <a:rPr lang="de-DE" dirty="0"/>
              <a:t>	- 1kOhm Überstrom Schutz falls man den GPIO ausversehen als Output definiert</a:t>
            </a:r>
          </a:p>
          <a:p>
            <a:r>
              <a:rPr lang="de-DE" dirty="0" err="1"/>
              <a:t>LED‘s</a:t>
            </a:r>
            <a:r>
              <a:rPr lang="de-DE" dirty="0"/>
              <a:t>:</a:t>
            </a:r>
          </a:p>
          <a:p>
            <a:r>
              <a:rPr lang="de-DE" dirty="0"/>
              <a:t>	- 270 Ohm Vorwiderstand zur Strom </a:t>
            </a:r>
            <a:r>
              <a:rPr lang="de-DE" dirty="0" err="1"/>
              <a:t>regulier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492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P32:</a:t>
            </a:r>
          </a:p>
          <a:p>
            <a:r>
              <a:rPr lang="de-DE" dirty="0"/>
              <a:t>	- Bypass </a:t>
            </a:r>
            <a:r>
              <a:rPr lang="de-DE" dirty="0" err="1"/>
              <a:t>Kapazitoren</a:t>
            </a:r>
            <a:r>
              <a:rPr lang="de-DE" dirty="0"/>
              <a:t>, dienen zur Glättung der Spannung</a:t>
            </a:r>
            <a:br>
              <a:rPr lang="de-DE" dirty="0"/>
            </a:br>
            <a:r>
              <a:rPr lang="de-DE" dirty="0"/>
              <a:t>	- unterschiedliche damit unterschiedliche Spannungsfrequenzen geglätte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72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LC:</a:t>
            </a:r>
          </a:p>
          <a:p>
            <a:r>
              <a:rPr lang="de-DE" dirty="0"/>
              <a:t>	- Display braucht 5Volt, Chip der das Display Ansteuert auch (der die I2C </a:t>
            </a:r>
            <a:r>
              <a:rPr lang="de-DE" dirty="0" err="1"/>
              <a:t>nachrichten</a:t>
            </a:r>
            <a:r>
              <a:rPr lang="de-DE" dirty="0"/>
              <a:t> </a:t>
            </a:r>
          </a:p>
          <a:p>
            <a:r>
              <a:rPr lang="de-DE" dirty="0"/>
              <a:t>	- ESP kann nur 3,3Volt ausgeben </a:t>
            </a:r>
          </a:p>
          <a:p>
            <a:r>
              <a:rPr lang="de-DE" dirty="0"/>
              <a:t>	- Speziell für I2C da I2C mit sehr hohen Frequenzen arbeitet</a:t>
            </a:r>
          </a:p>
          <a:p>
            <a:r>
              <a:rPr lang="de-DE" dirty="0"/>
              <a:t>	- </a:t>
            </a:r>
          </a:p>
          <a:p>
            <a:r>
              <a:rPr lang="de-DE" dirty="0"/>
              <a:t>	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54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N: </a:t>
            </a:r>
          </a:p>
          <a:p>
            <a:r>
              <a:rPr lang="de-DE" dirty="0"/>
              <a:t>	- 120 Ohm: Stellt sicher das das Can Signal nicht Kabel ende Reflektiert wird</a:t>
            </a:r>
          </a:p>
          <a:p>
            <a:r>
              <a:rPr lang="de-DE" dirty="0"/>
              <a:t>	- Transceiver: Wandelt CAN-Nachricht in Digitales IO Signal um welches für </a:t>
            </a:r>
            <a:r>
              <a:rPr lang="de-DE" dirty="0" err="1"/>
              <a:t>für</a:t>
            </a:r>
            <a:r>
              <a:rPr lang="de-DE" dirty="0"/>
              <a:t> ESP lesbar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1205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387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57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365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50959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882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19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399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844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030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135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717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632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798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06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699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67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251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2B84541-2774-49CE-8267-CB8B3A152923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260F1A5-BC40-4597-9D27-0D62B9AB2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93602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44" imgH="344" progId="TCLayout.ActiveDocument.1">
                  <p:embed/>
                </p:oleObj>
              </mc:Choice>
              <mc:Fallback>
                <p:oleObj name="think-cell Folie" r:id="rId25" imgW="344" imgH="34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260F1A5-BC40-4597-9D27-0D62B9AB2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20F83034-ED6E-41F4-8A6B-2A83A8ABF12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2132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ss.cs.tudortmund.de/Teaching/PGs/autolab/ausarbeitungen/Kosch-CAN-Ausarbeitung.pdf" TargetMode="External"/><Relationship Id="rId2" Type="http://schemas.openxmlformats.org/officeDocument/2006/relationships/hyperlink" Target="https://www.kfz.net/autolexikon/canbus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ikrocontroller.net/attachment/6819/canbus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C5174C-480C-43BD-8A96-A011BCF35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031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C5174C-480C-43BD-8A96-A011BCF35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387AB4-5D61-4E27-9848-29AFA786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52759"/>
            <a:ext cx="12191999" cy="882173"/>
          </a:xfrm>
        </p:spPr>
        <p:txBody>
          <a:bodyPr>
            <a:normAutofit fontScale="90000"/>
          </a:bodyPr>
          <a:lstStyle/>
          <a:p>
            <a:pPr algn="ctr"/>
            <a:r>
              <a:rPr lang="de-DE" dirty="0" err="1"/>
              <a:t>can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go</a:t>
            </a:r>
            <a:r>
              <a:rPr lang="de-DE" dirty="0"/>
              <a:t>-syst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567448-EDAD-4D57-A325-E59CAF191E87}"/>
              </a:ext>
            </a:extLst>
          </p:cNvPr>
          <p:cNvSpPr txBox="1"/>
          <p:nvPr/>
        </p:nvSpPr>
        <p:spPr>
          <a:xfrm>
            <a:off x="275208" y="1580225"/>
            <a:ext cx="116741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buFontTx/>
              <a:buChar char="-"/>
            </a:pPr>
            <a:r>
              <a:rPr lang="de-DE" sz="3200" dirty="0"/>
              <a:t>Gerät zum schnellen überprüfen der Funktionsfähigkeit 	eines CAN-Networks</a:t>
            </a:r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457200" indent="-457200">
              <a:buFontTx/>
              <a:buChar char="-"/>
            </a:pPr>
            <a:endParaRPr lang="de-DE" sz="32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3FA4E9-9A76-7403-7126-4693D6DE4D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2560012" y="2857497"/>
            <a:ext cx="7071973" cy="374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6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07820-F915-206D-E13B-740CF98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N-Anschluss mit Transceiver 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29A9D80B-5B79-76F2-6F45-5339A0C3DC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392" y="2353187"/>
            <a:ext cx="3867690" cy="257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AE8F33C4-C2E3-6347-8B41-D4C1C0B1A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920" y="2562916"/>
            <a:ext cx="2800350" cy="215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45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Leiterplatt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50C6BE9C-2E7C-9B47-2592-8CD59A12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298258" y="-478094"/>
            <a:ext cx="5595486" cy="885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94EFCAE-620B-65D8-E105-041C6748D899}"/>
              </a:ext>
            </a:extLst>
          </p:cNvPr>
          <p:cNvSpPr txBox="1"/>
          <p:nvPr/>
        </p:nvSpPr>
        <p:spPr>
          <a:xfrm>
            <a:off x="7258755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SP-3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579E37-ED1E-6B09-F039-87BC55D3D7B6}"/>
              </a:ext>
            </a:extLst>
          </p:cNvPr>
          <p:cNvSpPr/>
          <p:nvPr/>
        </p:nvSpPr>
        <p:spPr>
          <a:xfrm rot="5400000">
            <a:off x="740964" y="4507609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tatus </a:t>
            </a:r>
            <a:r>
              <a:rPr lang="de-DE" dirty="0" err="1"/>
              <a:t>LED‘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E6BD7F4-1F05-3DF7-6E5C-49D1B5D44C42}"/>
              </a:ext>
            </a:extLst>
          </p:cNvPr>
          <p:cNvSpPr txBox="1"/>
          <p:nvPr/>
        </p:nvSpPr>
        <p:spPr>
          <a:xfrm rot="5400000">
            <a:off x="2231922" y="4316667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tton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362E827-3E10-86F8-504D-9EAED37C8B19}"/>
              </a:ext>
            </a:extLst>
          </p:cNvPr>
          <p:cNvSpPr txBox="1"/>
          <p:nvPr/>
        </p:nvSpPr>
        <p:spPr>
          <a:xfrm>
            <a:off x="4736600" y="2039504"/>
            <a:ext cx="2325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UB-D Steck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57CE18D-B5A4-3B7C-C360-9F1961A9C292}"/>
              </a:ext>
            </a:extLst>
          </p:cNvPr>
          <p:cNvSpPr txBox="1"/>
          <p:nvPr/>
        </p:nvSpPr>
        <p:spPr>
          <a:xfrm>
            <a:off x="4535219" y="4787493"/>
            <a:ext cx="2045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UART-Transceiv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FD3C4B-9F3C-9860-9AB4-DC0832B6534D}"/>
              </a:ext>
            </a:extLst>
          </p:cNvPr>
          <p:cNvSpPr txBox="1"/>
          <p:nvPr/>
        </p:nvSpPr>
        <p:spPr>
          <a:xfrm>
            <a:off x="9448368" y="511065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splay Anschlus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9FD266C-F889-CBA7-8D2C-10F6BF6B30B9}"/>
              </a:ext>
            </a:extLst>
          </p:cNvPr>
          <p:cNvSpPr txBox="1"/>
          <p:nvPr/>
        </p:nvSpPr>
        <p:spPr>
          <a:xfrm>
            <a:off x="5538110" y="553714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</p:spTree>
    <p:extLst>
      <p:ext uri="{BB962C8B-B14F-4D97-AF65-F5344CB8AC3E}">
        <p14:creationId xmlns:p14="http://schemas.microsoft.com/office/powerpoint/2010/main" val="1876703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514B28-2C88-2506-23FA-FF1D6053A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Software - Konze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5E2C11-52F2-2FA9-AFF8-C7EEF40E9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ystem:</a:t>
            </a:r>
          </a:p>
          <a:p>
            <a:pPr lvl="1"/>
            <a:r>
              <a:rPr lang="de-DE" dirty="0"/>
              <a:t>Microcontroller: esp32</a:t>
            </a:r>
          </a:p>
          <a:p>
            <a:pPr lvl="1"/>
            <a:r>
              <a:rPr lang="de-DE" dirty="0"/>
              <a:t>Framework: </a:t>
            </a:r>
            <a:r>
              <a:rPr lang="de-DE" dirty="0" err="1"/>
              <a:t>espidf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stem Architektur: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F94CABB-117E-DBFB-8007-8705BDBF318D}"/>
              </a:ext>
            </a:extLst>
          </p:cNvPr>
          <p:cNvSpPr/>
          <p:nvPr/>
        </p:nvSpPr>
        <p:spPr>
          <a:xfrm>
            <a:off x="1730201" y="4355691"/>
            <a:ext cx="1632155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Starting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983497-EB0F-89D3-82DB-19A30892EA3A}"/>
              </a:ext>
            </a:extLst>
          </p:cNvPr>
          <p:cNvSpPr/>
          <p:nvPr/>
        </p:nvSpPr>
        <p:spPr>
          <a:xfrm>
            <a:off x="4389826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Configuratio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81EB6A3-93B6-34E0-D232-0CB4319D3C1E}"/>
              </a:ext>
            </a:extLst>
          </p:cNvPr>
          <p:cNvSpPr/>
          <p:nvPr/>
        </p:nvSpPr>
        <p:spPr>
          <a:xfrm>
            <a:off x="7216601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Operation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4B735F15-1D89-DBAF-436D-430742450C3E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3362356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E7F8C327-7203-BCFC-3546-1C1F33E3FE66}"/>
              </a:ext>
            </a:extLst>
          </p:cNvPr>
          <p:cNvCxnSpPr>
            <a:cxnSpLocks/>
          </p:cNvCxnSpPr>
          <p:nvPr/>
        </p:nvCxnSpPr>
        <p:spPr>
          <a:xfrm>
            <a:off x="6189131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9254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A2A1D8-FBBA-E2B9-03B0-B989BF54F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Starting</a:t>
            </a:r>
            <a:r>
              <a:rPr lang="de-DE" dirty="0"/>
              <a:t>-Stat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3AE40D6-8C3E-B225-DCE0-9021EF92A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520" y="2449821"/>
            <a:ext cx="10505168" cy="340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2674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B1B13D-A1FF-81EC-9C76-05084ACC6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Configuration</a:t>
            </a:r>
            <a:r>
              <a:rPr lang="de-DE" dirty="0"/>
              <a:t>-Stat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ED2318A-0F78-9FA8-1EAF-47B496B97B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5449" y="1646086"/>
            <a:ext cx="9701101" cy="468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31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F7144-0A9F-0D38-C62D-77F7125BE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Operation-State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5891BFF0-2088-869A-4016-F46F902F3F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0500" y="1252461"/>
            <a:ext cx="6850999" cy="5434302"/>
          </a:xfrm>
        </p:spPr>
      </p:pic>
    </p:spTree>
    <p:extLst>
      <p:ext uri="{BB962C8B-B14F-4D97-AF65-F5344CB8AC3E}">
        <p14:creationId xmlns:p14="http://schemas.microsoft.com/office/powerpoint/2010/main" val="35441301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838A6-338A-D39B-AB94-291C465AE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Verbesserungsmöglichk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BB2D6B-C268-59EA-6068-771C3A36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AN-Nachrichten mittels Bluetooth auf App auf dem Handy anzeigen </a:t>
            </a:r>
          </a:p>
          <a:p>
            <a:pPr lvl="1"/>
            <a:r>
              <a:rPr lang="de-DE" dirty="0"/>
              <a:t>Vorteile: 	</a:t>
            </a:r>
          </a:p>
          <a:p>
            <a:pPr lvl="2"/>
            <a:r>
              <a:rPr lang="de-DE" dirty="0"/>
              <a:t>Größeres Display</a:t>
            </a:r>
          </a:p>
          <a:p>
            <a:pPr lvl="2"/>
            <a:r>
              <a:rPr lang="de-DE" dirty="0"/>
              <a:t>Mehr Möglichkeiten zum User-Input</a:t>
            </a:r>
          </a:p>
          <a:p>
            <a:r>
              <a:rPr lang="de-DE" dirty="0"/>
              <a:t>Widerstandsmessung zwischen CAN High und CAN Low um Status des Netzwerks zu erfassen</a:t>
            </a:r>
          </a:p>
          <a:p>
            <a:pPr lvl="1"/>
            <a:r>
              <a:rPr lang="de-DE" dirty="0"/>
              <a:t>Niedriger Beanspruchung des CAN Netzwerks</a:t>
            </a:r>
          </a:p>
        </p:txBody>
      </p:sp>
    </p:spTree>
    <p:extLst>
      <p:ext uri="{BB962C8B-B14F-4D97-AF65-F5344CB8AC3E}">
        <p14:creationId xmlns:p14="http://schemas.microsoft.com/office/powerpoint/2010/main" val="39138505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F4C11-2690-895C-6300-3E5C377E6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Quel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409E67-6F15-8303-BFC8-42E96C20F2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https://www.kfz.net/autolexikon/canbus/</a:t>
            </a:r>
            <a:endParaRPr lang="de-DE" dirty="0"/>
          </a:p>
          <a:p>
            <a:r>
              <a:rPr lang="de-DE" dirty="0">
                <a:hlinkClick r:id="rId3"/>
              </a:rPr>
              <a:t>https://ess.cs.tudortmund.de/Teaching/PGs/autolab/ausarbeitungen/Kosch-CAN-Ausarbeitung.pdf</a:t>
            </a:r>
            <a:endParaRPr lang="de-DE" dirty="0"/>
          </a:p>
          <a:p>
            <a:r>
              <a:rPr lang="de-DE" dirty="0">
                <a:hlinkClick r:id="rId4"/>
              </a:rPr>
              <a:t>https://www.mikrocontroller.net/attachment/6819/canbus.pdf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358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721377-9575-461A-8D9D-36DA703665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98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721377-9575-461A-8D9D-36DA70366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733F04-0734-400E-BBC6-BB7F6B599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Funkti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CC9316-58E7-4B93-9DE0-7DED50F94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ortable</a:t>
            </a:r>
          </a:p>
          <a:p>
            <a:r>
              <a:rPr lang="de-DE" dirty="0"/>
              <a:t>Plug and Play System</a:t>
            </a:r>
          </a:p>
          <a:p>
            <a:r>
              <a:rPr lang="de-DE" dirty="0"/>
              <a:t>Anzeigen der CAN-Nachrichten auf einem Display</a:t>
            </a:r>
          </a:p>
          <a:p>
            <a:r>
              <a:rPr lang="de-DE" dirty="0"/>
              <a:t>Optionaler Abschlusswiderstand</a:t>
            </a:r>
          </a:p>
          <a:p>
            <a:r>
              <a:rPr lang="de-DE" dirty="0"/>
              <a:t>Micro USB Anschluss zum Debuggen</a:t>
            </a:r>
          </a:p>
          <a:p>
            <a:r>
              <a:rPr lang="de-DE" dirty="0"/>
              <a:t>Einstellbare Baudrate</a:t>
            </a:r>
          </a:p>
          <a:p>
            <a:r>
              <a:rPr lang="de-DE" dirty="0"/>
              <a:t>Einstellbar zwischen Normal/Extended </a:t>
            </a:r>
            <a:r>
              <a:rPr lang="de-DE" dirty="0" err="1"/>
              <a:t>Identifiers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572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0C5543-48FB-051B-168A-65A87AD5D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Allgeme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8123CC-806E-17DE-28D0-872E72CC83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nwendungsgebiete:</a:t>
            </a:r>
          </a:p>
          <a:p>
            <a:pPr lvl="1"/>
            <a:r>
              <a:rPr lang="de-DE" dirty="0"/>
              <a:t>Automobil Bereich</a:t>
            </a:r>
          </a:p>
          <a:p>
            <a:pPr lvl="1"/>
            <a:r>
              <a:rPr lang="de-DE" dirty="0"/>
              <a:t>Fahrstuhl-Steuerungen </a:t>
            </a:r>
          </a:p>
          <a:p>
            <a:pPr lvl="1"/>
            <a:r>
              <a:rPr lang="de-DE" dirty="0"/>
              <a:t>Automatisierungstechnik (z.B. bei KUKA-Robotern)</a:t>
            </a:r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/>
              <a:t>Vorteile von CAN</a:t>
            </a:r>
          </a:p>
          <a:p>
            <a:pPr lvl="1"/>
            <a:r>
              <a:rPr lang="de-DE" dirty="0"/>
              <a:t>Mehrfache Sicherung bei der Datenübertragung</a:t>
            </a:r>
          </a:p>
          <a:p>
            <a:pPr lvl="1"/>
            <a:r>
              <a:rPr lang="de-DE" dirty="0"/>
              <a:t>Echtzeitfähig</a:t>
            </a:r>
          </a:p>
          <a:p>
            <a:endParaRPr lang="de-DE" dirty="0"/>
          </a:p>
          <a:p>
            <a:pPr lvl="1"/>
            <a:endParaRPr lang="de-DE" dirty="0"/>
          </a:p>
        </p:txBody>
      </p:sp>
      <p:pic>
        <p:nvPicPr>
          <p:cNvPr id="1026" name="Picture 2" descr="CAN-Bus Erklärung zum Datenbus im Autolexikon - Kfz.net">
            <a:extLst>
              <a:ext uri="{FF2B5EF4-FFF2-40B4-BE49-F238E27FC236}">
                <a16:creationId xmlns:a16="http://schemas.microsoft.com/office/drawing/2014/main" id="{F18F86A7-A8F6-9281-075E-BEEC96A94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1853248"/>
            <a:ext cx="4199910" cy="20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97237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16E094-A8D3-1214-22A4-6A154474E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CAN-Datentelegramm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25ED67-386A-C9D7-23F9-6C3A5687A0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dard-Frame </a:t>
            </a:r>
            <a:r>
              <a:rPr lang="en-US" dirty="0" err="1"/>
              <a:t>nach</a:t>
            </a:r>
            <a:r>
              <a:rPr lang="en-US" dirty="0"/>
              <a:t> Standard CAN 2.0A: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de-DE" dirty="0"/>
              <a:t>Extended-Frame nach Standard CAN2.0B: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C81A1AB-1E79-F307-1E9A-E9FE6BA6B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9031" y="2496507"/>
            <a:ext cx="7702148" cy="93249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2FD4E00-3CA9-CB72-E607-F8CC400A6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9031" y="4150658"/>
            <a:ext cx="9840248" cy="9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9257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2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Vorentwurf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99A69D2-EDFB-4982-8B83-C035A30E8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8068" y="1559928"/>
            <a:ext cx="7030521" cy="483536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DEF16F-2AB2-4DD6-A8A3-92B31247BE4B}"/>
              </a:ext>
            </a:extLst>
          </p:cNvPr>
          <p:cNvSpPr txBox="1"/>
          <p:nvPr/>
        </p:nvSpPr>
        <p:spPr>
          <a:xfrm>
            <a:off x="3533312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94A7E2B-7994-424A-965C-9C6878917A6B}"/>
              </a:ext>
            </a:extLst>
          </p:cNvPr>
          <p:cNvSpPr txBox="1"/>
          <p:nvPr/>
        </p:nvSpPr>
        <p:spPr>
          <a:xfrm>
            <a:off x="1943120" y="237777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A04855-49C6-4B6F-ACD3-2C7AE2E7AF8A}"/>
              </a:ext>
            </a:extLst>
          </p:cNvPr>
          <p:cNvSpPr txBox="1"/>
          <p:nvPr/>
        </p:nvSpPr>
        <p:spPr>
          <a:xfrm>
            <a:off x="6096000" y="5288081"/>
            <a:ext cx="286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ART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USB Connecto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8FC654-6801-428F-A1FF-27CA71574ADE}"/>
              </a:ext>
            </a:extLst>
          </p:cNvPr>
          <p:cNvSpPr/>
          <p:nvPr/>
        </p:nvSpPr>
        <p:spPr>
          <a:xfrm>
            <a:off x="2166335" y="518941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FA5408-03E0-42D5-9EAC-E765FED4B91D}"/>
              </a:ext>
            </a:extLst>
          </p:cNvPr>
          <p:cNvSpPr/>
          <p:nvPr/>
        </p:nvSpPr>
        <p:spPr>
          <a:xfrm>
            <a:off x="4866087" y="5472747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atteri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B6688B5-52B3-48E6-A3E6-372D57C33EC5}"/>
              </a:ext>
            </a:extLst>
          </p:cNvPr>
          <p:cNvSpPr/>
          <p:nvPr/>
        </p:nvSpPr>
        <p:spPr>
          <a:xfrm>
            <a:off x="6096000" y="2227182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DC9A598-55C7-FDBB-7A21-EDA0EB5FE599}"/>
              </a:ext>
            </a:extLst>
          </p:cNvPr>
          <p:cNvCxnSpPr/>
          <p:nvPr/>
        </p:nvCxnSpPr>
        <p:spPr>
          <a:xfrm>
            <a:off x="4602480" y="4805680"/>
            <a:ext cx="1493520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D22FF5A0-B611-2049-8191-4BFE2F057D2A}"/>
              </a:ext>
            </a:extLst>
          </p:cNvPr>
          <p:cNvCxnSpPr/>
          <p:nvPr/>
        </p:nvCxnSpPr>
        <p:spPr>
          <a:xfrm flipV="1">
            <a:off x="4500880" y="4805680"/>
            <a:ext cx="1584698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B0AA4C7-9A52-E375-310D-996C496AA2B6}"/>
              </a:ext>
            </a:extLst>
          </p:cNvPr>
          <p:cNvCxnSpPr/>
          <p:nvPr/>
        </p:nvCxnSpPr>
        <p:spPr>
          <a:xfrm>
            <a:off x="6451600" y="2747105"/>
            <a:ext cx="2296160" cy="29103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B9ED2B4-3EF3-78C3-5B57-7ACF55EBC8DC}"/>
              </a:ext>
            </a:extLst>
          </p:cNvPr>
          <p:cNvCxnSpPr/>
          <p:nvPr/>
        </p:nvCxnSpPr>
        <p:spPr>
          <a:xfrm flipH="1">
            <a:off x="6280794" y="2596514"/>
            <a:ext cx="2466966" cy="2962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453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Neues Design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823F30AF-EF72-28A4-7D9A-C0AEE52A3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166" y="1146718"/>
            <a:ext cx="8016240" cy="552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309DE0E-452A-8A32-0F94-A485D1FA6BF5}"/>
              </a:ext>
            </a:extLst>
          </p:cNvPr>
          <p:cNvSpPr txBox="1"/>
          <p:nvPr/>
        </p:nvSpPr>
        <p:spPr>
          <a:xfrm>
            <a:off x="2525792" y="123985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5C95B95-5B43-E35E-78FE-2F2DBB5E9651}"/>
              </a:ext>
            </a:extLst>
          </p:cNvPr>
          <p:cNvSpPr/>
          <p:nvPr/>
        </p:nvSpPr>
        <p:spPr>
          <a:xfrm>
            <a:off x="2684495" y="596157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AFAD5A8-FEA2-1634-6451-D080FF3CD0B9}"/>
              </a:ext>
            </a:extLst>
          </p:cNvPr>
          <p:cNvSpPr txBox="1"/>
          <p:nvPr/>
        </p:nvSpPr>
        <p:spPr>
          <a:xfrm>
            <a:off x="6855632" y="3538081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F2A039D-DEDD-792E-299A-47722B22CB56}"/>
              </a:ext>
            </a:extLst>
          </p:cNvPr>
          <p:cNvSpPr txBox="1"/>
          <p:nvPr/>
        </p:nvSpPr>
        <p:spPr>
          <a:xfrm>
            <a:off x="2525792" y="286118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Logic</a:t>
            </a:r>
            <a:r>
              <a:rPr lang="de-DE" dirty="0">
                <a:solidFill>
                  <a:schemeClr val="bg1"/>
                </a:solidFill>
              </a:rPr>
              <a:t> Level Convert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C90EF7-296E-A9FE-C33D-83FDE7581EB4}"/>
              </a:ext>
            </a:extLst>
          </p:cNvPr>
          <p:cNvSpPr txBox="1"/>
          <p:nvPr/>
        </p:nvSpPr>
        <p:spPr>
          <a:xfrm>
            <a:off x="8937488" y="114671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 Anschlus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2EF949-451C-71E6-7125-8E80A90FDD27}"/>
              </a:ext>
            </a:extLst>
          </p:cNvPr>
          <p:cNvSpPr txBox="1"/>
          <p:nvPr/>
        </p:nvSpPr>
        <p:spPr>
          <a:xfrm>
            <a:off x="7590503" y="2362582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uttons</a:t>
            </a:r>
          </a:p>
        </p:txBody>
      </p:sp>
    </p:spTree>
    <p:extLst>
      <p:ext uri="{BB962C8B-B14F-4D97-AF65-F5344CB8AC3E}">
        <p14:creationId xmlns:p14="http://schemas.microsoft.com/office/powerpoint/2010/main" val="3035198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F83893-3156-99A7-533C-31649F02A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313" y="744794"/>
            <a:ext cx="4396338" cy="576262"/>
          </a:xfrm>
        </p:spPr>
        <p:txBody>
          <a:bodyPr/>
          <a:lstStyle/>
          <a:p>
            <a:r>
              <a:rPr lang="de-DE" dirty="0"/>
              <a:t>Button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5C258-942D-69F4-F198-4E0AB24602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654495" y="744794"/>
            <a:ext cx="4396339" cy="576262"/>
          </a:xfrm>
        </p:spPr>
        <p:txBody>
          <a:bodyPr/>
          <a:lstStyle/>
          <a:p>
            <a:r>
              <a:rPr lang="de-DE" dirty="0" err="1"/>
              <a:t>LED‘s</a:t>
            </a:r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2CE64E6-4087-96F3-2386-6184786CF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556" y="1767503"/>
            <a:ext cx="3039852" cy="419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E77721E4-C1A0-4FDA-02D0-D5B851642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779" y="2439317"/>
            <a:ext cx="4017975" cy="2284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420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970F70-0D32-D9AE-8373-D5CDBD586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ESP-32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17A992A8-00A6-E016-85A4-4B4BB4CD2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431" y="1443399"/>
            <a:ext cx="5399138" cy="496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503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5B6586-3995-F33A-4571-CA243208F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  <p:pic>
        <p:nvPicPr>
          <p:cNvPr id="13316" name="Picture 4">
            <a:extLst>
              <a:ext uri="{FF2B5EF4-FFF2-40B4-BE49-F238E27FC236}">
                <a16:creationId xmlns:a16="http://schemas.microsoft.com/office/drawing/2014/main" id="{8075DFF2-2F1D-C6F3-AB40-43EFDB702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512" y="2052918"/>
            <a:ext cx="7534139" cy="369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367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SVVqbaPW0uDbgdi4ky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572</Words>
  <Application>Microsoft Office PowerPoint</Application>
  <PresentationFormat>Breitbild</PresentationFormat>
  <Paragraphs>123</Paragraphs>
  <Slides>1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6" baseType="lpstr">
      <vt:lpstr>inherit</vt:lpstr>
      <vt:lpstr>Arial</vt:lpstr>
      <vt:lpstr>Calibri</vt:lpstr>
      <vt:lpstr>Calibri Light</vt:lpstr>
      <vt:lpstr>Century Gothic</vt:lpstr>
      <vt:lpstr>Open Sans</vt:lpstr>
      <vt:lpstr>Wingdings 3</vt:lpstr>
      <vt:lpstr>Ion</vt:lpstr>
      <vt:lpstr>think-cell Folie</vt:lpstr>
      <vt:lpstr>can-to-go-system</vt:lpstr>
      <vt:lpstr>Funktionen</vt:lpstr>
      <vt:lpstr>Allgemeines</vt:lpstr>
      <vt:lpstr>CAN-Datentelegramm</vt:lpstr>
      <vt:lpstr>Vorentwurf</vt:lpstr>
      <vt:lpstr>Neues Design</vt:lpstr>
      <vt:lpstr>PowerPoint-Präsentation</vt:lpstr>
      <vt:lpstr>ESP-32</vt:lpstr>
      <vt:lpstr>Logic Level Converter</vt:lpstr>
      <vt:lpstr>CAN-Anschluss mit Transceiver </vt:lpstr>
      <vt:lpstr>Leiterplatte</vt:lpstr>
      <vt:lpstr>Software - Konzept</vt:lpstr>
      <vt:lpstr>Starting-State</vt:lpstr>
      <vt:lpstr>Configuration-State</vt:lpstr>
      <vt:lpstr>Operation-State</vt:lpstr>
      <vt:lpstr>Verbesserungsmöglichkeiten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n-to-go-system</dc:title>
  <dc:creator>Leonard Kreil</dc:creator>
  <cp:lastModifiedBy>Leonard Kreil</cp:lastModifiedBy>
  <cp:revision>4</cp:revision>
  <dcterms:created xsi:type="dcterms:W3CDTF">2023-04-20T09:05:08Z</dcterms:created>
  <dcterms:modified xsi:type="dcterms:W3CDTF">2023-06-28T15:07:21Z</dcterms:modified>
</cp:coreProperties>
</file>